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/>
        </p:nvGraphicFramePr>
        <p:xfrm>
          <a:off x="419099" y="1033696"/>
          <a:ext cx="10667999" cy="463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578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6</cp:revision>
  <dcterms:created xsi:type="dcterms:W3CDTF">2021-03-31T02:49:57Z</dcterms:created>
  <dcterms:modified xsi:type="dcterms:W3CDTF">2025-10-16T11:33:54Z</dcterms:modified>
  <cp:category/>
</cp:coreProperties>
</file>